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1"/>
    <p:sldMasterId id="2147483733" r:id="rId2"/>
    <p:sldMasterId id="2147483757" r:id="rId3"/>
  </p:sldMasterIdLst>
  <p:notesMasterIdLst>
    <p:notesMasterId r:id="rId9"/>
  </p:notesMasterIdLst>
  <p:handoutMasterIdLst>
    <p:handoutMasterId r:id="rId10"/>
  </p:handoutMasterIdLst>
  <p:sldIdLst>
    <p:sldId id="702" r:id="rId4"/>
    <p:sldId id="712" r:id="rId5"/>
    <p:sldId id="713" r:id="rId6"/>
    <p:sldId id="714" r:id="rId7"/>
    <p:sldId id="715" r:id="rId8"/>
  </p:sldIdLst>
  <p:sldSz cx="12198350" cy="6858000"/>
  <p:notesSz cx="6797675" cy="9928225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445" userDrawn="1">
          <p15:clr>
            <a:srgbClr val="A4A3A4"/>
          </p15:clr>
        </p15:guide>
        <p15:guide id="6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3"/>
    <a:srgbClr val="AFB7C0"/>
    <a:srgbClr val="F8F8F8"/>
    <a:srgbClr val="62707C"/>
    <a:srgbClr val="EEF0F2"/>
    <a:srgbClr val="5A5A5A"/>
    <a:srgbClr val="AEB8C0"/>
    <a:srgbClr val="004E86"/>
    <a:srgbClr val="007E46"/>
    <a:srgbClr val="00A8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5295" autoAdjust="0"/>
  </p:normalViewPr>
  <p:slideViewPr>
    <p:cSldViewPr snapToGrid="0" showGuides="1">
      <p:cViewPr varScale="1">
        <p:scale>
          <a:sx n="63" d="100"/>
          <a:sy n="63" d="100"/>
        </p:scale>
        <p:origin x="692" y="68"/>
      </p:cViewPr>
      <p:guideLst>
        <p:guide orient="horz" pos="2445"/>
        <p:guide pos="3842"/>
      </p:guideLst>
    </p:cSldViewPr>
  </p:slideViewPr>
  <p:outlineViewPr>
    <p:cViewPr>
      <p:scale>
        <a:sx n="33" d="100"/>
        <a:sy n="33" d="100"/>
      </p:scale>
      <p:origin x="0" y="-483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2781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135"/>
          </a:xfrm>
          <a:prstGeom prst="rect">
            <a:avLst/>
          </a:prstGeom>
        </p:spPr>
        <p:txBody>
          <a:bodyPr vert="horz" lIns="91278" tIns="45639" rIns="91278" bIns="45639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60" cy="498135"/>
          </a:xfrm>
          <a:prstGeom prst="rect">
            <a:avLst/>
          </a:prstGeom>
        </p:spPr>
        <p:txBody>
          <a:bodyPr vert="horz" lIns="91278" tIns="45639" rIns="91278" bIns="45639" rtlCol="0"/>
          <a:lstStyle>
            <a:lvl1pPr algn="r">
              <a:defRPr sz="1200"/>
            </a:lvl1pPr>
          </a:lstStyle>
          <a:p>
            <a:fld id="{7F31C7A8-4E53-4216-B1B3-F3FBEDACB6F6}" type="datetimeFigureOut">
              <a:rPr lang="de-DE" smtClean="0"/>
              <a:t>13.04.202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1278" tIns="45639" rIns="91278" bIns="45639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60" cy="498134"/>
          </a:xfrm>
          <a:prstGeom prst="rect">
            <a:avLst/>
          </a:prstGeom>
        </p:spPr>
        <p:txBody>
          <a:bodyPr vert="horz" lIns="91278" tIns="45639" rIns="91278" bIns="45639" rtlCol="0" anchor="b"/>
          <a:lstStyle>
            <a:lvl1pPr algn="r">
              <a:defRPr sz="1200"/>
            </a:lvl1pPr>
          </a:lstStyle>
          <a:p>
            <a:fld id="{61E446A7-9A6D-45B5-B33E-35BEC06F95E6}" type="slidenum">
              <a:rPr lang="de-DE" smtClean="0"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55390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63538" y="369888"/>
            <a:ext cx="6061075" cy="34067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8" tIns="45639" rIns="91278" bIns="45639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6401" y="4108888"/>
            <a:ext cx="6055234" cy="5565852"/>
          </a:xfrm>
          <a:prstGeom prst="rect">
            <a:avLst/>
          </a:prstGeom>
        </p:spPr>
        <p:txBody>
          <a:bodyPr vert="horz" lIns="91278" tIns="45639" rIns="91278" bIns="45639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60" cy="496412"/>
          </a:xfrm>
          <a:prstGeom prst="rect">
            <a:avLst/>
          </a:prstGeom>
        </p:spPr>
        <p:txBody>
          <a:bodyPr vert="horz" lIns="91278" tIns="45639" rIns="91278" bIns="45639" rtlCol="0" anchor="b"/>
          <a:lstStyle>
            <a:lvl1pPr algn="r">
              <a:defRPr sz="1200"/>
            </a:lvl1pPr>
          </a:lstStyle>
          <a:p>
            <a:fld id="{EFE4369C-51D3-422E-B7FC-9E99D8859611}" type="slidenum">
              <a:rPr lang="de-DE" smtClean="0"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2793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20000"/>
      </a:lnSpc>
      <a:spcBef>
        <a:spcPts val="600"/>
      </a:spcBef>
      <a:spcAft>
        <a:spcPts val="60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lnSpc>
        <a:spcPct val="120000"/>
      </a:lnSpc>
      <a:spcBef>
        <a:spcPts val="600"/>
      </a:spcBef>
      <a:spcAft>
        <a:spcPts val="60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lnSpc>
        <a:spcPct val="120000"/>
      </a:lnSpc>
      <a:spcBef>
        <a:spcPts val="600"/>
      </a:spcBef>
      <a:spcAft>
        <a:spcPts val="60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lnSpc>
        <a:spcPct val="120000"/>
      </a:lnSpc>
      <a:spcBef>
        <a:spcPts val="600"/>
      </a:spcBef>
      <a:spcAft>
        <a:spcPts val="60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lnSpc>
        <a:spcPct val="120000"/>
      </a:lnSpc>
      <a:spcBef>
        <a:spcPts val="600"/>
      </a:spcBef>
      <a:spcAft>
        <a:spcPts val="60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E4369C-51D3-422E-B7FC-9E99D885961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70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848528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jekt_gro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8" name="Rechteck 7"/>
          <p:cNvSpPr/>
          <p:nvPr userDrawn="1"/>
        </p:nvSpPr>
        <p:spPr>
          <a:xfrm>
            <a:off x="287338" y="290513"/>
            <a:ext cx="108912" cy="568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559877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287337" y="1196975"/>
            <a:ext cx="11623675" cy="5370513"/>
          </a:xfrm>
          <a:prstGeom prst="rect">
            <a:avLst/>
          </a:prstGeom>
          <a:effectLst/>
        </p:spPr>
        <p:txBody>
          <a:bodyPr wrap="square" lIns="252000" tIns="180000" rIns="180000" bIns="180000" anchor="ctr">
            <a:no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  <a:br>
              <a:rPr lang="de-DE" dirty="0"/>
            </a:br>
            <a:r>
              <a:rPr lang="de-DE" dirty="0"/>
              <a:t>(Tabelle, Diagramm, Bild, ...)</a:t>
            </a:r>
          </a:p>
        </p:txBody>
      </p:sp>
    </p:spTree>
    <p:extLst>
      <p:ext uri="{BB962C8B-B14F-4D97-AF65-F5344CB8AC3E}">
        <p14:creationId xmlns:p14="http://schemas.microsoft.com/office/powerpoint/2010/main" val="3726304462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1" userDrawn="1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4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kt un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058" y="558697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523875" y="2286608"/>
            <a:ext cx="11386080" cy="4087904"/>
          </a:xfrm>
          <a:prstGeom prst="rect">
            <a:avLst/>
          </a:prstGeom>
          <a:effectLst/>
        </p:spPr>
        <p:txBody>
          <a:bodyPr wrap="square" lIns="252000" tIns="180000" rIns="180000" bIns="180000" anchor="ctr">
            <a:no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523875" y="6374511"/>
            <a:ext cx="11387139" cy="249675"/>
          </a:xfrm>
          <a:prstGeom prst="rect">
            <a:avLst/>
          </a:prstGeom>
        </p:spPr>
        <p:txBody>
          <a:bodyPr wrap="square" lIns="108000" tIns="36000" rIns="108000" bIns="36000">
            <a:spAutoFit/>
          </a:bodyPr>
          <a:lstStyle>
            <a:lvl1pPr marL="0" indent="0" algn="r">
              <a:buFontTx/>
              <a:buNone/>
              <a:defRPr sz="115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nangabe / Objektbeschreibung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-1058" y="1196975"/>
            <a:ext cx="11911013" cy="807126"/>
          </a:xfrm>
          <a:prstGeom prst="rect">
            <a:avLst/>
          </a:prstGeom>
        </p:spPr>
        <p:txBody>
          <a:bodyPr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</p:spTree>
    <p:extLst>
      <p:ext uri="{BB962C8B-B14F-4D97-AF65-F5344CB8AC3E}">
        <p14:creationId xmlns:p14="http://schemas.microsoft.com/office/powerpoint/2010/main" val="1227325557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2" pos="3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_Objekte_mit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6" name="Layoutschutz" hidden="1"/>
          <p:cNvSpPr/>
          <p:nvPr userDrawn="1">
            <p:custDataLst>
              <p:tags r:id="rId1"/>
            </p:custDataLst>
          </p:nvPr>
        </p:nvSpPr>
        <p:spPr>
          <a:xfrm>
            <a:off x="0" y="1719263"/>
            <a:ext cx="12198350" cy="51387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87337" y="2286607"/>
            <a:ext cx="5669228" cy="3186485"/>
          </a:xfrm>
          <a:prstGeom prst="rect">
            <a:avLst/>
          </a:prstGeom>
          <a:effectLst/>
        </p:spPr>
        <p:txBody>
          <a:bodyPr wrap="square" lIns="252000" tIns="180000" rIns="180000" bIns="180000" anchor="ctr">
            <a:no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6241785" y="2286607"/>
            <a:ext cx="5669228" cy="3186485"/>
          </a:xfrm>
          <a:prstGeom prst="rect">
            <a:avLst/>
          </a:prstGeom>
          <a:effectLst/>
        </p:spPr>
        <p:txBody>
          <a:bodyPr wrap="square" lIns="252000" tIns="180000" rIns="180000" bIns="180000" anchor="ctr">
            <a:no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558289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87866" y="5571472"/>
            <a:ext cx="5668169" cy="996015"/>
          </a:xfrm>
          <a:prstGeom prst="rect">
            <a:avLst/>
          </a:prstGeom>
        </p:spPr>
        <p:txBody>
          <a:bodyPr wrap="square" lIns="108000" tIns="108000" rIns="108000" bIns="108000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/ Beschreibung</a:t>
            </a:r>
          </a:p>
          <a:p>
            <a:pPr lvl="0"/>
            <a:r>
              <a:rPr lang="de-DE" dirty="0"/>
              <a:t>Objekt A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44318" y="5574588"/>
            <a:ext cx="5666694" cy="996015"/>
          </a:xfrm>
          <a:prstGeom prst="rect">
            <a:avLst/>
          </a:prstGeom>
        </p:spPr>
        <p:txBody>
          <a:bodyPr wrap="square" lIns="108000" tIns="108000" rIns="108000" bIns="108000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/ Beschreibung</a:t>
            </a:r>
          </a:p>
          <a:p>
            <a:pPr lvl="0"/>
            <a:r>
              <a:rPr lang="de-DE" dirty="0"/>
              <a:t>Objekt B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28" y="1198611"/>
            <a:ext cx="11911013" cy="807126"/>
          </a:xfrm>
          <a:prstGeom prst="rect">
            <a:avLst/>
          </a:prstGeom>
        </p:spPr>
        <p:txBody>
          <a:bodyPr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  <p:sp>
        <p:nvSpPr>
          <p:cNvPr id="20" name="Rechteck 19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5144882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2" pos="1967" userDrawn="1">
          <p15:clr>
            <a:srgbClr val="FBAE40"/>
          </p15:clr>
        </p15:guide>
        <p15:guide id="3" pos="5718" userDrawn="1">
          <p15:clr>
            <a:srgbClr val="FBAE40"/>
          </p15:clr>
        </p15:guide>
        <p15:guide id="4" pos="32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kument_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365442" y="290513"/>
            <a:ext cx="4545570" cy="6276974"/>
          </a:xfrm>
          <a:prstGeom prst="rect">
            <a:avLst/>
          </a:prstGeom>
        </p:spPr>
        <p:txBody>
          <a:bodyPr wrap="square" lIns="252000" tIns="180000" rIns="180000" bIns="180000" anchor="ctr">
            <a:noAutofit/>
          </a:bodyPr>
          <a:lstStyle>
            <a:lvl1pPr marL="268287" indent="0" algn="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 Objekt einfügen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558289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59" y="1197157"/>
            <a:ext cx="6098116" cy="807126"/>
          </a:xfrm>
          <a:prstGeom prst="rect">
            <a:avLst/>
          </a:prstGeom>
        </p:spPr>
        <p:txBody>
          <a:bodyPr wrap="square"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6778533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2" pos="330">
          <p15:clr>
            <a:srgbClr val="FBAE40"/>
          </p15:clr>
        </p15:guide>
        <p15:guide id="3" orient="horz" pos="7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jekt_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0"/>
          </p:nvPr>
        </p:nvSpPr>
        <p:spPr>
          <a:xfrm>
            <a:off x="6099175" y="1196974"/>
            <a:ext cx="5811837" cy="5177537"/>
          </a:xfrm>
          <a:prstGeom prst="rect">
            <a:avLst/>
          </a:prstGeom>
        </p:spPr>
        <p:txBody>
          <a:bodyPr wrap="square" lIns="252000" tIns="180000" rIns="180000" bIns="180000" anchor="ctr">
            <a:noAutofit/>
          </a:bodyPr>
          <a:lstStyle>
            <a:lvl1pPr marL="268287" inden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endParaRPr lang="de-DE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558289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7401620" y="6374511"/>
            <a:ext cx="4509394" cy="249675"/>
          </a:xfrm>
          <a:prstGeom prst="rect">
            <a:avLst/>
          </a:prstGeom>
        </p:spPr>
        <p:txBody>
          <a:bodyPr wrap="square" lIns="108000" tIns="36000" rIns="108000" bIns="36000">
            <a:spAutoFit/>
          </a:bodyPr>
          <a:lstStyle>
            <a:lvl1pPr marL="0" indent="0" algn="r">
              <a:buFontTx/>
              <a:buNone/>
              <a:defRPr sz="115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nangabe / Objektbeschreibung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" y="1200064"/>
            <a:ext cx="6099173" cy="807126"/>
          </a:xfrm>
          <a:prstGeom prst="rect">
            <a:avLst/>
          </a:prstGeom>
        </p:spPr>
        <p:txBody>
          <a:bodyPr wrap="square"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2491008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2" pos="330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44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_Objekte_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6099175" y="4078805"/>
            <a:ext cx="5811839" cy="2295706"/>
          </a:xfrm>
          <a:prstGeom prst="rect">
            <a:avLst/>
          </a:prstGeom>
          <a:ln>
            <a:noFill/>
          </a:ln>
        </p:spPr>
        <p:txBody>
          <a:bodyPr wrap="square" lIns="252000" tIns="180000" rIns="180000" bIns="180000" anchor="ctr">
            <a:no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6099175" y="1196976"/>
            <a:ext cx="5811839" cy="2303462"/>
          </a:xfrm>
          <a:prstGeom prst="rect">
            <a:avLst/>
          </a:prstGeom>
          <a:ln>
            <a:noFill/>
          </a:ln>
        </p:spPr>
        <p:txBody>
          <a:bodyPr wrap="square" lIns="252000" tIns="180000" rIns="180000" bIns="180000" anchor="ctr">
            <a:no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898525" indent="-266700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de-DE" dirty="0"/>
              <a:t>Objekt einfügen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" y="558444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401620" y="3500438"/>
            <a:ext cx="4509394" cy="249675"/>
          </a:xfrm>
          <a:prstGeom prst="rect">
            <a:avLst/>
          </a:prstGeom>
        </p:spPr>
        <p:txBody>
          <a:bodyPr wrap="square" lIns="108000" tIns="36000" rIns="108000" bIns="36000">
            <a:spAutoFit/>
          </a:bodyPr>
          <a:lstStyle>
            <a:lvl1pPr marL="0" indent="0" algn="r">
              <a:buFontTx/>
              <a:buNone/>
              <a:defRPr sz="115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nangabe / Objektbeschreibung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7401620" y="6374511"/>
            <a:ext cx="4509394" cy="249675"/>
          </a:xfrm>
          <a:prstGeom prst="rect">
            <a:avLst/>
          </a:prstGeom>
        </p:spPr>
        <p:txBody>
          <a:bodyPr wrap="square" lIns="108000" tIns="36000" rIns="108000" bIns="36000">
            <a:spAutoFit/>
          </a:bodyPr>
          <a:lstStyle>
            <a:lvl1pPr marL="0" indent="0" algn="r">
              <a:buFontTx/>
              <a:buNone/>
              <a:defRPr sz="115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nangabe / Objektbeschreibung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5" hasCustomPrompt="1"/>
          </p:nvPr>
        </p:nvSpPr>
        <p:spPr>
          <a:xfrm>
            <a:off x="1" y="1196975"/>
            <a:ext cx="6099174" cy="807126"/>
          </a:xfrm>
          <a:prstGeom prst="rect">
            <a:avLst/>
          </a:prstGeom>
        </p:spPr>
        <p:txBody>
          <a:bodyPr wrap="square"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6672076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1" userDrawn="1">
          <p15:clr>
            <a:srgbClr val="FBAE40"/>
          </p15:clr>
        </p15:guide>
        <p15:guide id="2" pos="327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446" userDrawn="1">
          <p15:clr>
            <a:srgbClr val="FBAE40"/>
          </p15:clr>
        </p15:guide>
        <p15:guide id="5" pos="4908" userDrawn="1">
          <p15:clr>
            <a:srgbClr val="FBAE40"/>
          </p15:clr>
        </p15:guide>
        <p15:guide id="7" orient="horz" pos="390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ernahme Diagramme 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558289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1311275" y="857251"/>
            <a:ext cx="9575800" cy="540789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0" y="6314679"/>
            <a:ext cx="2672408" cy="395081"/>
          </a:xfrm>
          <a:prstGeom prst="rect">
            <a:avLst/>
          </a:prstGeom>
        </p:spPr>
        <p:txBody>
          <a:bodyPr wrap="none" lIns="252000" tIns="108000" rIns="180000" bIns="108000">
            <a:spAutoFit/>
          </a:bodyPr>
          <a:lstStyle>
            <a:lvl1pPr marL="266700" indent="0" algn="l">
              <a:buFontTx/>
              <a:buNone/>
              <a:defRPr sz="115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Erläuterungen zum Diagramm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287338" y="290513"/>
            <a:ext cx="108912" cy="5667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090530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1" userDrawn="1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268" userDrawn="1">
          <p15:clr>
            <a:srgbClr val="FBAE40"/>
          </p15:clr>
        </p15:guide>
        <p15:guide id="5" pos="7176" userDrawn="1">
          <p15:clr>
            <a:srgbClr val="FBAE40"/>
          </p15:clr>
        </p15:guide>
        <p15:guide id="6" pos="826" userDrawn="1">
          <p15:clr>
            <a:srgbClr val="FBAE40"/>
          </p15:clr>
        </p15:guide>
        <p15:guide id="7" pos="6858" userDrawn="1">
          <p15:clr>
            <a:srgbClr val="FBAE40"/>
          </p15:clr>
        </p15:guide>
        <p15:guide id="8" orient="horz" pos="39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EE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0"/>
          </p:nvPr>
        </p:nvSpPr>
        <p:spPr>
          <a:xfrm>
            <a:off x="1" y="1196975"/>
            <a:ext cx="12198349" cy="1086791"/>
          </a:xfrm>
          <a:prstGeom prst="rect">
            <a:avLst/>
          </a:prstGeom>
        </p:spPr>
        <p:txBody>
          <a:bodyPr wrap="square" lIns="288000" tIns="180000" rIns="288000" bIns="180000">
            <a:spAutoFit/>
          </a:bodyPr>
          <a:lstStyle>
            <a:lvl1pPr marL="1436688" indent="-715963"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>
                <a:tab pos="1436688" algn="l"/>
              </a:tabLst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701800" indent="-265113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430338" indent="-354013">
              <a:buFont typeface="Symbol" panose="05050102010706020507" pitchFamily="18" charset="2"/>
              <a:buChar char="-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Layoutschutz" hidden="1"/>
          <p:cNvSpPr/>
          <p:nvPr userDrawn="1">
            <p:custDataLst>
              <p:tags r:id="rId1"/>
            </p:custDataLst>
          </p:nvPr>
        </p:nvSpPr>
        <p:spPr>
          <a:xfrm>
            <a:off x="144463" y="1719263"/>
            <a:ext cx="11766550" cy="4587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" y="559795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7477701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1" userDrawn="1">
          <p15:clr>
            <a:srgbClr val="FBAE40"/>
          </p15:clr>
        </p15:guide>
        <p15:guide id="2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bene_1">
    <p:bg>
      <p:bgPr>
        <a:solidFill>
          <a:srgbClr val="EE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367" y="256943"/>
            <a:ext cx="668316" cy="66009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" b="1836"/>
          <a:stretch/>
        </p:blipFill>
        <p:spPr>
          <a:xfrm>
            <a:off x="1776122" y="197564"/>
            <a:ext cx="10427798" cy="6667363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0" y="1719263"/>
            <a:ext cx="12198350" cy="3422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rgbClr val="FFFFFF"/>
              </a:solidFill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17" y="2727172"/>
            <a:ext cx="12196233" cy="701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08000" tIns="144000" rIns="216000" bIns="154800" anchor="b">
            <a:spAutoFit/>
          </a:bodyPr>
          <a:lstStyle>
            <a:lvl1pPr marL="806450" indent="0" algn="l">
              <a:lnSpc>
                <a:spcPct val="100000"/>
              </a:lnSpc>
              <a:defRPr sz="26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erste Ebene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98797" y="2701537"/>
            <a:ext cx="1436328" cy="732605"/>
          </a:xfrm>
          <a:prstGeom prst="rect">
            <a:avLst/>
          </a:prstGeom>
        </p:spPr>
        <p:txBody>
          <a:bodyPr wrap="none" lIns="1008000" tIns="144000" rIns="216000" bIns="154800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1526213" y="2565400"/>
            <a:ext cx="108912" cy="630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35125" y="4415579"/>
            <a:ext cx="2224552" cy="330072"/>
          </a:xfrm>
          <a:prstGeom prst="rect">
            <a:avLst/>
          </a:prstGeom>
        </p:spPr>
        <p:txBody>
          <a:bodyPr wrap="none" lIns="180000" tIns="72000" rIns="72000" bIns="72000">
            <a:spAutoFit/>
          </a:bodyPr>
          <a:lstStyle>
            <a:lvl1pPr marL="0" indent="0">
              <a:buFontTx/>
              <a:buNone/>
              <a:defRPr sz="1200" i="1" baseline="0"/>
            </a:lvl1pPr>
            <a:lvl2pPr marL="609723" indent="0">
              <a:buFontTx/>
              <a:buNone/>
              <a:defRPr/>
            </a:lvl2pPr>
            <a:lvl3pPr marL="1219447" indent="0">
              <a:buFontTx/>
              <a:buNone/>
              <a:defRPr/>
            </a:lvl3pPr>
            <a:lvl4pPr marL="1829171" indent="0">
              <a:buFontTx/>
              <a:buNone/>
              <a:defRPr/>
            </a:lvl4pPr>
            <a:lvl5pPr marL="2438894" indent="0">
              <a:buFontTx/>
              <a:buNone/>
              <a:defRPr/>
            </a:lvl5pPr>
          </a:lstStyle>
          <a:p>
            <a:pPr lvl="0"/>
            <a:r>
              <a:rPr lang="de-DE" dirty="0"/>
              <a:t>ggf. Name des Vortragenden</a:t>
            </a:r>
          </a:p>
        </p:txBody>
      </p:sp>
    </p:spTree>
    <p:extLst>
      <p:ext uri="{BB962C8B-B14F-4D97-AF65-F5344CB8AC3E}">
        <p14:creationId xmlns:p14="http://schemas.microsoft.com/office/powerpoint/2010/main" val="407346377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013" userDrawn="1">
          <p15:clr>
            <a:srgbClr val="FBAE40"/>
          </p15:clr>
        </p15:guide>
        <p15:guide id="2" orient="horz" pos="1616" userDrawn="1">
          <p15:clr>
            <a:srgbClr val="FBAE40"/>
          </p15:clr>
        </p15:guide>
        <p15:guide id="3" pos="114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ben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1719263"/>
            <a:ext cx="12198350" cy="3422650"/>
          </a:xfrm>
          <a:prstGeom prst="rect">
            <a:avLst/>
          </a:prstGeom>
          <a:solidFill>
            <a:srgbClr val="EE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rgbClr val="FFFFFF"/>
              </a:solidFill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17" y="2727172"/>
            <a:ext cx="12196233" cy="701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08000" tIns="144000" rIns="216000" bIns="154800" anchor="b">
            <a:spAutoFit/>
          </a:bodyPr>
          <a:lstStyle>
            <a:lvl1pPr marL="806450" indent="0" algn="l">
              <a:lnSpc>
                <a:spcPct val="100000"/>
              </a:lnSpc>
              <a:defRPr sz="26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2. Ebe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526213" y="2565400"/>
            <a:ext cx="108912" cy="630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68875" y="2701537"/>
            <a:ext cx="1466249" cy="732605"/>
          </a:xfrm>
          <a:prstGeom prst="rect">
            <a:avLst/>
          </a:prstGeom>
        </p:spPr>
        <p:txBody>
          <a:bodyPr wrap="square" lIns="360000" tIns="144000" rIns="216000" bIns="154800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2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1.1</a:t>
            </a:r>
          </a:p>
        </p:txBody>
      </p:sp>
    </p:spTree>
    <p:extLst>
      <p:ext uri="{BB962C8B-B14F-4D97-AF65-F5344CB8AC3E}">
        <p14:creationId xmlns:p14="http://schemas.microsoft.com/office/powerpoint/2010/main" val="3101497154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013">
          <p15:clr>
            <a:srgbClr val="FBAE40"/>
          </p15:clr>
        </p15:guide>
        <p15:guide id="2" orient="horz" pos="16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bene_3">
    <p:bg>
      <p:bgPr>
        <a:solidFill>
          <a:srgbClr val="EE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17" y="2757950"/>
            <a:ext cx="12196233" cy="67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08000" tIns="144000" rIns="216000" bIns="154800" anchor="b">
            <a:spAutoFit/>
          </a:bodyPr>
          <a:lstStyle>
            <a:lvl1pPr marL="806450" indent="0" algn="l">
              <a:lnSpc>
                <a:spcPct val="100000"/>
              </a:lnSpc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3. Ebene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526213" y="2565400"/>
            <a:ext cx="108912" cy="630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98797" y="2701537"/>
            <a:ext cx="1436328" cy="732605"/>
          </a:xfrm>
          <a:prstGeom prst="rect">
            <a:avLst/>
          </a:prstGeom>
        </p:spPr>
        <p:txBody>
          <a:bodyPr wrap="none" lIns="1008000" tIns="144000" rIns="216000" bIns="154800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28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52372006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0" pos="1030" userDrawn="1">
          <p15:clr>
            <a:srgbClr val="FBAE40"/>
          </p15:clr>
        </p15:guide>
        <p15:guide id="1" orient="horz" pos="2013">
          <p15:clr>
            <a:srgbClr val="FBAE40"/>
          </p15:clr>
        </p15:guide>
        <p15:guide id="2" orient="horz" pos="161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17" y="560505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 (Arial 24)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4343626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 (Arial 22)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87338" y="290513"/>
            <a:ext cx="108912" cy="568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197157"/>
            <a:ext cx="11911013" cy="1179536"/>
          </a:xfrm>
          <a:prstGeom prst="rect">
            <a:avLst/>
          </a:prstGeom>
        </p:spPr>
        <p:txBody>
          <a:bodyPr lIns="252000" tIns="72000" rIns="72000" bIns="72000">
            <a:spAutoFit/>
          </a:bodyPr>
          <a:lstStyle>
            <a:lvl1pPr marL="538163" indent="-276225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defRPr sz="1800"/>
            </a:lvl2pPr>
            <a:lvl3pPr marL="1346200" indent="-273050">
              <a:buFont typeface="Wingdings" panose="05000000000000000000" pitchFamily="2" charset="2"/>
              <a:buChar char="Ø"/>
              <a:defRPr sz="1600"/>
            </a:lvl3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  <a:p>
            <a:pPr lvl="2"/>
            <a:r>
              <a:rPr lang="de-DE" dirty="0"/>
              <a:t>Dritte Ebene </a:t>
            </a:r>
          </a:p>
        </p:txBody>
      </p:sp>
    </p:spTree>
    <p:extLst>
      <p:ext uri="{BB962C8B-B14F-4D97-AF65-F5344CB8AC3E}">
        <p14:creationId xmlns:p14="http://schemas.microsoft.com/office/powerpoint/2010/main" val="57342737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2" pos="330">
          <p15:clr>
            <a:srgbClr val="FBAE40"/>
          </p15:clr>
        </p15:guide>
        <p15:guide id="3" orient="horz" pos="244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ideo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9297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4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mit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4" name="Medienplatzhalter 3"/>
          <p:cNvSpPr>
            <a:spLocks noGrp="1"/>
          </p:cNvSpPr>
          <p:nvPr>
            <p:ph type="media" sz="quarter" idx="11" hasCustomPrompt="1"/>
          </p:nvPr>
        </p:nvSpPr>
        <p:spPr>
          <a:xfrm>
            <a:off x="1325563" y="1196975"/>
            <a:ext cx="9547225" cy="537051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200"/>
            </a:lvl1pPr>
          </a:lstStyle>
          <a:p>
            <a:r>
              <a:rPr lang="de-DE" dirty="0"/>
              <a:t>Video einfügen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058" y="559877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48155" y="6056346"/>
            <a:ext cx="551440" cy="553723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287338" y="290513"/>
            <a:ext cx="108912" cy="568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4946136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0" userDrawn="1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44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_Videos_mit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11862146" y="6610069"/>
            <a:ext cx="258083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58C0DCF5-CDDC-459D-90BD-D9826054AE88}" type="slidenum">
              <a:rPr lang="de-DE" sz="1000" smtClean="0"/>
              <a:pPr algn="r"/>
              <a:t>‹N›</a:t>
            </a:fld>
            <a:endParaRPr lang="de-DE" sz="1000" dirty="0"/>
          </a:p>
        </p:txBody>
      </p:sp>
      <p:sp>
        <p:nvSpPr>
          <p:cNvPr id="6" name="Layoutschutz" hidden="1"/>
          <p:cNvSpPr/>
          <p:nvPr userDrawn="1">
            <p:custDataLst>
              <p:tags r:id="rId1"/>
            </p:custDataLst>
          </p:nvPr>
        </p:nvSpPr>
        <p:spPr>
          <a:xfrm>
            <a:off x="0" y="1719263"/>
            <a:ext cx="12198350" cy="51387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17" y="558697"/>
            <a:ext cx="121962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52000" tIns="0" rIns="252000" bIns="0" anchor="b">
            <a:spAutoFit/>
          </a:bodyPr>
          <a:lstStyle>
            <a:lvl1pPr marL="268288" indent="0" algn="l">
              <a:lnSpc>
                <a:spcPct val="100000"/>
              </a:lnSpc>
              <a:defRPr sz="2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Folientitel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" y="220143"/>
            <a:ext cx="3034541" cy="338554"/>
          </a:xfrm>
          <a:prstGeom prst="rect">
            <a:avLst/>
          </a:prstGeom>
        </p:spPr>
        <p:txBody>
          <a:bodyPr wrap="none" lIns="252000" tIns="0" rIns="252000" bIns="0">
            <a:spAutoFit/>
          </a:bodyPr>
          <a:lstStyle>
            <a:lvl1pPr marL="268288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überschrift</a:t>
            </a:r>
          </a:p>
        </p:txBody>
      </p:sp>
      <p:sp>
        <p:nvSpPr>
          <p:cNvPr id="22" name="Medienplatzhalter 3"/>
          <p:cNvSpPr>
            <a:spLocks noGrp="1"/>
          </p:cNvSpPr>
          <p:nvPr>
            <p:ph type="media" sz="quarter" idx="16" hasCustomPrompt="1"/>
          </p:nvPr>
        </p:nvSpPr>
        <p:spPr>
          <a:xfrm>
            <a:off x="287338" y="2285206"/>
            <a:ext cx="5667375" cy="318928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400"/>
            </a:lvl1pPr>
          </a:lstStyle>
          <a:p>
            <a:r>
              <a:rPr lang="de-DE" dirty="0"/>
              <a:t>Video</a:t>
            </a:r>
          </a:p>
        </p:txBody>
      </p:sp>
      <p:sp>
        <p:nvSpPr>
          <p:cNvPr id="23" name="Medienplatzhalter 3"/>
          <p:cNvSpPr>
            <a:spLocks noGrp="1"/>
          </p:cNvSpPr>
          <p:nvPr>
            <p:ph type="media" sz="quarter" idx="17" hasCustomPrompt="1"/>
          </p:nvPr>
        </p:nvSpPr>
        <p:spPr>
          <a:xfrm>
            <a:off x="6243637" y="2283766"/>
            <a:ext cx="5667375" cy="318928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400"/>
            </a:lvl1pPr>
          </a:lstStyle>
          <a:p>
            <a:r>
              <a:rPr lang="de-DE" dirty="0"/>
              <a:t>Vide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87866" y="5571472"/>
            <a:ext cx="5668169" cy="996015"/>
          </a:xfrm>
          <a:prstGeom prst="rect">
            <a:avLst/>
          </a:prstGeom>
        </p:spPr>
        <p:txBody>
          <a:bodyPr wrap="square" lIns="108000" tIns="108000" rIns="108000" bIns="108000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Videoangaben</a:t>
            </a:r>
          </a:p>
          <a:p>
            <a:pPr lvl="0"/>
            <a:r>
              <a:rPr lang="de-DE" dirty="0"/>
              <a:t>Film A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44318" y="5574588"/>
            <a:ext cx="5666694" cy="996015"/>
          </a:xfrm>
          <a:prstGeom prst="rect">
            <a:avLst/>
          </a:prstGeom>
        </p:spPr>
        <p:txBody>
          <a:bodyPr wrap="square" lIns="108000" tIns="108000" rIns="108000" bIns="108000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Videoangaben</a:t>
            </a:r>
          </a:p>
          <a:p>
            <a:pPr lvl="0"/>
            <a:r>
              <a:rPr lang="de-DE" dirty="0"/>
              <a:t>Film B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55081" y="5616260"/>
            <a:ext cx="551440" cy="55372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6209003" y="5616260"/>
            <a:ext cx="551440" cy="553723"/>
          </a:xfrm>
          <a:prstGeom prst="rect">
            <a:avLst/>
          </a:prstGeom>
        </p:spPr>
      </p:pic>
      <p:sp>
        <p:nvSpPr>
          <p:cNvPr id="19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196213"/>
            <a:ext cx="11911013" cy="785582"/>
          </a:xfrm>
          <a:prstGeom prst="rect">
            <a:avLst/>
          </a:prstGeom>
        </p:spPr>
        <p:txBody>
          <a:bodyPr lIns="252000" tIns="72000" rIns="72000" bIns="72000">
            <a:spAutoFit/>
          </a:bodyPr>
          <a:lstStyle>
            <a:lvl1pPr marL="538163" indent="-276225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000"/>
            </a:lvl1pPr>
            <a:lvl2pPr marL="893763" indent="-268288">
              <a:buClr>
                <a:schemeClr val="tx1">
                  <a:lumMod val="75000"/>
                  <a:lumOff val="25000"/>
                </a:schemeClr>
              </a:buClr>
              <a:defRPr sz="1800"/>
            </a:lvl2pPr>
          </a:lstStyle>
          <a:p>
            <a:pPr lvl="0"/>
            <a:r>
              <a:rPr lang="de-DE" dirty="0"/>
              <a:t>Text erste Ebene (Arial 20)</a:t>
            </a:r>
          </a:p>
          <a:p>
            <a:pPr lvl="1"/>
            <a:r>
              <a:rPr lang="de-DE" dirty="0"/>
              <a:t>Zweite Ebene (Arial 18 – Mindestschriftgröße)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287338" y="290513"/>
            <a:ext cx="108912" cy="568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5828318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541" userDrawn="1">
          <p15:clr>
            <a:srgbClr val="FBAE40"/>
          </p15:clr>
        </p15:guide>
        <p15:guide id="2" pos="1965" userDrawn="1">
          <p15:clr>
            <a:srgbClr val="FBAE40"/>
          </p15:clr>
        </p15:guide>
        <p15:guide id="3" pos="3933" userDrawn="1">
          <p15:clr>
            <a:srgbClr val="FBAE40"/>
          </p15:clr>
        </p15:guide>
        <p15:guide id="4" pos="3751" userDrawn="1">
          <p15:clr>
            <a:srgbClr val="FBAE40"/>
          </p15:clr>
        </p15:guide>
        <p15:guide id="5" pos="571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ags" Target="../tags/tag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9713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84" r:id="rId2"/>
    <p:sldLayoutId id="2147483694" r:id="rId3"/>
    <p:sldLayoutId id="2147483774" r:id="rId4"/>
    <p:sldLayoutId id="2147483702" r:id="rId5"/>
    <p:sldLayoutId id="2147483721" r:id="rId6"/>
  </p:sldLayoutIdLst>
  <p:hf hdr="0" ftr="0"/>
  <p:txStyles>
    <p:titleStyle>
      <a:lvl1pPr marL="120676" indent="-423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2pPr>
      <a:lvl3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3pPr>
      <a:lvl4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4pPr>
      <a:lvl5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5pPr>
      <a:lvl6pPr marL="609723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6pPr>
      <a:lvl7pPr marL="1219447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7pPr>
      <a:lvl8pPr marL="1829171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8pPr>
      <a:lvl9pPr marL="243889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9pPr>
    </p:titleStyle>
    <p:bodyStyle>
      <a:lvl1pPr marL="457293" indent="-457293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990801" indent="-381078" algn="l" rtl="0" eaLnBrk="1" fontAlgn="base" hangingPunct="1">
        <a:spcBef>
          <a:spcPct val="20000"/>
        </a:spcBef>
        <a:spcAft>
          <a:spcPct val="0"/>
        </a:spcAft>
        <a:buChar char="–"/>
        <a:defRPr sz="370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524309" indent="-304862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2134033" indent="-304862" algn="l" rtl="0" eaLnBrk="1" fontAlgn="base" hangingPunct="1">
        <a:spcBef>
          <a:spcPct val="20000"/>
        </a:spcBef>
        <a:spcAft>
          <a:spcPct val="0"/>
        </a:spcAft>
        <a:buChar char="–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2743756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3353479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6pPr>
      <a:lvl7pPr marL="3963203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7pPr>
      <a:lvl8pPr marL="4572927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8pPr>
      <a:lvl9pPr marL="5182650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3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7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7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9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8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4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6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89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 userDrawn="1">
          <p15:clr>
            <a:srgbClr val="F26B43"/>
          </p15:clr>
        </p15:guide>
        <p15:guide id="8" orient="horz" pos="754" userDrawn="1">
          <p15:clr>
            <a:srgbClr val="F26B43"/>
          </p15:clr>
        </p15:guide>
        <p15:guide id="11" orient="horz" pos="4320" userDrawn="1">
          <p15:clr>
            <a:srgbClr val="F26B43"/>
          </p15:clr>
        </p15:guide>
        <p15:guide id="12" orient="horz" userDrawn="1">
          <p15:clr>
            <a:srgbClr val="F26B43"/>
          </p15:clr>
        </p15:guide>
        <p15:guide id="13" userDrawn="1">
          <p15:clr>
            <a:srgbClr val="F26B43"/>
          </p15:clr>
        </p15:guide>
        <p15:guide id="14" pos="7684" userDrawn="1">
          <p15:clr>
            <a:srgbClr val="F26B43"/>
          </p15:clr>
        </p15:guide>
        <p15:guide id="15" pos="181" userDrawn="1">
          <p15:clr>
            <a:srgbClr val="F26B43"/>
          </p15:clr>
        </p15:guide>
        <p15:guide id="16" pos="7503" userDrawn="1">
          <p15:clr>
            <a:srgbClr val="F26B43"/>
          </p15:clr>
        </p15:guide>
        <p15:guide id="17" orient="horz" pos="183" userDrawn="1">
          <p15:clr>
            <a:srgbClr val="F26B43"/>
          </p15:clr>
        </p15:guide>
        <p15:guide id="18" orient="horz" pos="41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90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22" r:id="rId2"/>
    <p:sldLayoutId id="2147483704" r:id="rId3"/>
  </p:sldLayoutIdLst>
  <p:hf hdr="0" ftr="0"/>
  <p:txStyles>
    <p:titleStyle>
      <a:lvl1pPr marL="120676" indent="-423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2pPr>
      <a:lvl3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3pPr>
      <a:lvl4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4pPr>
      <a:lvl5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5pPr>
      <a:lvl6pPr marL="609723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6pPr>
      <a:lvl7pPr marL="1219447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7pPr>
      <a:lvl8pPr marL="1829171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8pPr>
      <a:lvl9pPr marL="243889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9pPr>
    </p:titleStyle>
    <p:bodyStyle>
      <a:lvl1pPr marL="457293" indent="-457293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990801" indent="-381078" algn="l" rtl="0" eaLnBrk="1" fontAlgn="base" hangingPunct="1">
        <a:spcBef>
          <a:spcPct val="20000"/>
        </a:spcBef>
        <a:spcAft>
          <a:spcPct val="0"/>
        </a:spcAft>
        <a:buChar char="–"/>
        <a:defRPr sz="370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524309" indent="-304862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2134033" indent="-304862" algn="l" rtl="0" eaLnBrk="1" fontAlgn="base" hangingPunct="1">
        <a:spcBef>
          <a:spcPct val="20000"/>
        </a:spcBef>
        <a:spcAft>
          <a:spcPct val="0"/>
        </a:spcAft>
        <a:buChar char="–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2743756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3353479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6pPr>
      <a:lvl7pPr marL="3963203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7pPr>
      <a:lvl8pPr marL="4572927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8pPr>
      <a:lvl9pPr marL="5182650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3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7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7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9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8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4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6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89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8" orient="horz" pos="754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>
          <p15:clr>
            <a:srgbClr val="F26B43"/>
          </p15:clr>
        </p15:guide>
        <p15:guide id="14" pos="7684">
          <p15:clr>
            <a:srgbClr val="F26B43"/>
          </p15:clr>
        </p15:guide>
        <p15:guide id="15" pos="181">
          <p15:clr>
            <a:srgbClr val="F26B43"/>
          </p15:clr>
        </p15:guide>
        <p15:guide id="16" pos="7503">
          <p15:clr>
            <a:srgbClr val="F26B43"/>
          </p15:clr>
        </p15:guide>
        <p15:guide id="17" orient="horz" pos="183">
          <p15:clr>
            <a:srgbClr val="F26B43"/>
          </p15:clr>
        </p15:guide>
        <p15:guide id="18" orient="horz" pos="41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022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72" r:id="rId2"/>
    <p:sldLayoutId id="2147483766" r:id="rId3"/>
    <p:sldLayoutId id="2147483768" r:id="rId4"/>
    <p:sldLayoutId id="2147483708" r:id="rId5"/>
    <p:sldLayoutId id="2147483769" r:id="rId6"/>
    <p:sldLayoutId id="2147483707" r:id="rId7"/>
  </p:sldLayoutIdLst>
  <p:hf hdr="0" ftr="0"/>
  <p:txStyles>
    <p:titleStyle>
      <a:lvl1pPr marL="120676" indent="-423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2pPr>
      <a:lvl3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3pPr>
      <a:lvl4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4pPr>
      <a:lvl5pPr marL="120676" indent="-12067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5pPr>
      <a:lvl6pPr marL="609723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6pPr>
      <a:lvl7pPr marL="1219447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7pPr>
      <a:lvl8pPr marL="1829171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8pPr>
      <a:lvl9pPr marL="2438894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1"/>
          </a:solidFill>
          <a:latin typeface="Arial" charset="0"/>
        </a:defRPr>
      </a:lvl9pPr>
    </p:titleStyle>
    <p:bodyStyle>
      <a:lvl1pPr marL="457293" indent="-457293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990801" indent="-381078" algn="l" rtl="0" eaLnBrk="1" fontAlgn="base" hangingPunct="1">
        <a:spcBef>
          <a:spcPct val="20000"/>
        </a:spcBef>
        <a:spcAft>
          <a:spcPct val="0"/>
        </a:spcAft>
        <a:buChar char="–"/>
        <a:defRPr sz="370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524309" indent="-304862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2134033" indent="-304862" algn="l" rtl="0" eaLnBrk="1" fontAlgn="base" hangingPunct="1">
        <a:spcBef>
          <a:spcPct val="20000"/>
        </a:spcBef>
        <a:spcAft>
          <a:spcPct val="0"/>
        </a:spcAft>
        <a:buChar char="–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2743756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3353479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6pPr>
      <a:lvl7pPr marL="3963203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7pPr>
      <a:lvl8pPr marL="4572927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8pPr>
      <a:lvl9pPr marL="5182650" indent="-304862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3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7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7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9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8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41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64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89" algn="l" defTabSz="12194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8" orient="horz" pos="754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>
          <p15:clr>
            <a:srgbClr val="F26B43"/>
          </p15:clr>
        </p15:guide>
        <p15:guide id="14" pos="7684">
          <p15:clr>
            <a:srgbClr val="F26B43"/>
          </p15:clr>
        </p15:guide>
        <p15:guide id="15" pos="181">
          <p15:clr>
            <a:srgbClr val="F26B43"/>
          </p15:clr>
        </p15:guide>
        <p15:guide id="16" pos="7503">
          <p15:clr>
            <a:srgbClr val="F26B43"/>
          </p15:clr>
        </p15:guide>
        <p15:guide id="17" orient="horz" pos="183">
          <p15:clr>
            <a:srgbClr val="F26B43"/>
          </p15:clr>
        </p15:guide>
        <p15:guide id="18" orient="horz" pos="41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591EFEA-503E-7EEE-3442-CC85BE09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86" b="27017"/>
          <a:stretch>
            <a:fillRect/>
          </a:stretch>
        </p:blipFill>
        <p:spPr>
          <a:xfrm>
            <a:off x="1" y="290513"/>
            <a:ext cx="12198350" cy="4300722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16" b="27775"/>
          <a:stretch/>
        </p:blipFill>
        <p:spPr>
          <a:xfrm>
            <a:off x="11266805" y="5527499"/>
            <a:ext cx="671495" cy="669695"/>
          </a:xfrm>
          <a:prstGeom prst="rect">
            <a:avLst/>
          </a:prstGeom>
        </p:spPr>
      </p:pic>
      <p:sp>
        <p:nvSpPr>
          <p:cNvPr id="8" name="Parallelogramm 2"/>
          <p:cNvSpPr/>
          <p:nvPr/>
        </p:nvSpPr>
        <p:spPr>
          <a:xfrm>
            <a:off x="5081036" y="4618578"/>
            <a:ext cx="7106252" cy="2239034"/>
          </a:xfrm>
          <a:custGeom>
            <a:avLst/>
            <a:gdLst>
              <a:gd name="connsiteX0" fmla="*/ 0 w 4602777"/>
              <a:gd name="connsiteY0" fmla="*/ 1673113 h 1673113"/>
              <a:gd name="connsiteX1" fmla="*/ 1839404 w 4602777"/>
              <a:gd name="connsiteY1" fmla="*/ 0 h 1673113"/>
              <a:gd name="connsiteX2" fmla="*/ 4602777 w 4602777"/>
              <a:gd name="connsiteY2" fmla="*/ 0 h 1673113"/>
              <a:gd name="connsiteX3" fmla="*/ 2763373 w 4602777"/>
              <a:gd name="connsiteY3" fmla="*/ 1673113 h 1673113"/>
              <a:gd name="connsiteX4" fmla="*/ 0 w 4602777"/>
              <a:gd name="connsiteY4" fmla="*/ 1673113 h 1673113"/>
              <a:gd name="connsiteX0" fmla="*/ 0 w 5418117"/>
              <a:gd name="connsiteY0" fmla="*/ 1718833 h 1718833"/>
              <a:gd name="connsiteX1" fmla="*/ 2654744 w 5418117"/>
              <a:gd name="connsiteY1" fmla="*/ 0 h 1718833"/>
              <a:gd name="connsiteX2" fmla="*/ 5418117 w 5418117"/>
              <a:gd name="connsiteY2" fmla="*/ 0 h 1718833"/>
              <a:gd name="connsiteX3" fmla="*/ 3578713 w 5418117"/>
              <a:gd name="connsiteY3" fmla="*/ 1673113 h 1718833"/>
              <a:gd name="connsiteX4" fmla="*/ 0 w 5418117"/>
              <a:gd name="connsiteY4" fmla="*/ 1718833 h 1718833"/>
              <a:gd name="connsiteX0" fmla="*/ 0 w 5418117"/>
              <a:gd name="connsiteY0" fmla="*/ 1718833 h 1718833"/>
              <a:gd name="connsiteX1" fmla="*/ 2654744 w 5418117"/>
              <a:gd name="connsiteY1" fmla="*/ 0 h 1718833"/>
              <a:gd name="connsiteX2" fmla="*/ 5418117 w 5418117"/>
              <a:gd name="connsiteY2" fmla="*/ 0 h 1718833"/>
              <a:gd name="connsiteX3" fmla="*/ 2801473 w 5418117"/>
              <a:gd name="connsiteY3" fmla="*/ 1718833 h 1718833"/>
              <a:gd name="connsiteX4" fmla="*/ 0 w 5418117"/>
              <a:gd name="connsiteY4" fmla="*/ 1718833 h 1718833"/>
              <a:gd name="connsiteX0" fmla="*/ 0 w 5467647"/>
              <a:gd name="connsiteY0" fmla="*/ 1722643 h 1722643"/>
              <a:gd name="connsiteX1" fmla="*/ 2654744 w 5467647"/>
              <a:gd name="connsiteY1" fmla="*/ 3810 h 1722643"/>
              <a:gd name="connsiteX2" fmla="*/ 5467647 w 5467647"/>
              <a:gd name="connsiteY2" fmla="*/ 0 h 1722643"/>
              <a:gd name="connsiteX3" fmla="*/ 2801473 w 5467647"/>
              <a:gd name="connsiteY3" fmla="*/ 1722643 h 1722643"/>
              <a:gd name="connsiteX4" fmla="*/ 0 w 5467647"/>
              <a:gd name="connsiteY4" fmla="*/ 1722643 h 1722643"/>
              <a:gd name="connsiteX0" fmla="*/ 0 w 5467647"/>
              <a:gd name="connsiteY0" fmla="*/ 1725197 h 1725197"/>
              <a:gd name="connsiteX1" fmla="*/ 2654744 w 5467647"/>
              <a:gd name="connsiteY1" fmla="*/ 0 h 1725197"/>
              <a:gd name="connsiteX2" fmla="*/ 5467647 w 5467647"/>
              <a:gd name="connsiteY2" fmla="*/ 2554 h 1725197"/>
              <a:gd name="connsiteX3" fmla="*/ 2801473 w 5467647"/>
              <a:gd name="connsiteY3" fmla="*/ 1725197 h 1725197"/>
              <a:gd name="connsiteX4" fmla="*/ 0 w 5467647"/>
              <a:gd name="connsiteY4" fmla="*/ 1725197 h 172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7647" h="1725197">
                <a:moveTo>
                  <a:pt x="0" y="1725197"/>
                </a:moveTo>
                <a:lnTo>
                  <a:pt x="2654744" y="0"/>
                </a:lnTo>
                <a:lnTo>
                  <a:pt x="5467647" y="2554"/>
                </a:lnTo>
                <a:lnTo>
                  <a:pt x="2801473" y="1725197"/>
                </a:lnTo>
                <a:lnTo>
                  <a:pt x="0" y="1725197"/>
                </a:lnTo>
                <a:close/>
              </a:path>
            </a:pathLst>
          </a:cu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638" y="5382995"/>
            <a:ext cx="7268166" cy="384721"/>
          </a:xfrm>
          <a:prstGeom prst="rect">
            <a:avLst/>
          </a:prstGeom>
          <a:noFill/>
        </p:spPr>
        <p:txBody>
          <a:bodyPr wrap="square" lIns="324000" tIns="0" rIns="90000" bIns="0" rtlCol="0" anchor="b">
            <a:spAutoFit/>
          </a:bodyPr>
          <a:lstStyle/>
          <a:p>
            <a:pPr lvl="0">
              <a:lnSpc>
                <a:spcPts val="3000"/>
              </a:lnSpc>
              <a:spcAft>
                <a:spcPts val="600"/>
              </a:spcAft>
              <a:defRPr/>
            </a:pPr>
            <a:r>
              <a:rPr lang="en-GB" sz="2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ring </a:t>
            </a:r>
            <a:r>
              <a:rPr lang="en-GB" sz="2600" b="1" noProof="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ues (</a:t>
            </a:r>
            <a:r>
              <a:rPr lang="en-GB" sz="2600" b="1" noProof="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WT-PTI</a:t>
            </a:r>
            <a:r>
              <a:rPr lang="en-GB" sz="2600" b="1" noProof="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GB" sz="26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0502936" y="6289972"/>
            <a:ext cx="1410794" cy="335220"/>
          </a:xfrm>
          <a:prstGeom prst="rect">
            <a:avLst/>
          </a:prstGeom>
          <a:noFill/>
        </p:spPr>
        <p:txBody>
          <a:bodyPr wrap="none" lIns="324000" tIns="0" rIns="0" bIns="0" rtlCol="0" anchor="t">
            <a:spAutoFit/>
          </a:bodyPr>
          <a:lstStyle/>
          <a:p>
            <a:pPr lvl="0" algn="r">
              <a:lnSpc>
                <a:spcPts val="3000"/>
              </a:lnSpc>
            </a:pPr>
            <a:r>
              <a:rPr lang="en-GB" sz="1600" noProof="0" dirty="0">
                <a:solidFill>
                  <a:srgbClr val="5D6875"/>
                </a:solidFill>
                <a:cs typeface="Arial" panose="020B0604020202020204" pitchFamily="34" charset="0"/>
              </a:rPr>
              <a:t>March 2026</a:t>
            </a:r>
          </a:p>
        </p:txBody>
      </p:sp>
      <p:cxnSp>
        <p:nvCxnSpPr>
          <p:cNvPr id="12" name="Gerader Verbinder 11"/>
          <p:cNvCxnSpPr/>
          <p:nvPr/>
        </p:nvCxnSpPr>
        <p:spPr>
          <a:xfrm>
            <a:off x="-13852" y="4661368"/>
            <a:ext cx="12198350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rgbClr val="B51F2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-13852" y="235097"/>
            <a:ext cx="12198350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rgbClr val="B51F2A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7EA77240-1198-5F8D-59C8-E1134A89F1EE}"/>
              </a:ext>
            </a:extLst>
          </p:cNvPr>
          <p:cNvSpPr txBox="1"/>
          <p:nvPr/>
        </p:nvSpPr>
        <p:spPr>
          <a:xfrm>
            <a:off x="-1" y="6289972"/>
            <a:ext cx="7500257" cy="335220"/>
          </a:xfrm>
          <a:prstGeom prst="rect">
            <a:avLst/>
          </a:prstGeom>
          <a:noFill/>
        </p:spPr>
        <p:txBody>
          <a:bodyPr wrap="square" lIns="324000" tIns="0" rIns="0" bIns="0" rtlCol="0" anchor="t">
            <a:spAutoFit/>
          </a:bodyPr>
          <a:lstStyle/>
          <a:p>
            <a:pPr lvl="0">
              <a:lnSpc>
                <a:spcPts val="3000"/>
              </a:lnSpc>
            </a:pPr>
            <a:r>
              <a:rPr lang="de-DE" sz="1600" dirty="0">
                <a:solidFill>
                  <a:srgbClr val="5D6875"/>
                </a:solidFill>
                <a:cs typeface="Arial" panose="020B0604020202020204" pitchFamily="34" charset="0"/>
              </a:rPr>
              <a:t>UNECE GRE TF-GP, </a:t>
            </a:r>
            <a:r>
              <a:rPr lang="de-DE" sz="1600" dirty="0" err="1">
                <a:solidFill>
                  <a:srgbClr val="5D6875"/>
                </a:solidFill>
                <a:cs typeface="Arial" panose="020B0604020202020204" pitchFamily="34" charset="0"/>
              </a:rPr>
              <a:t>HWT</a:t>
            </a:r>
            <a:r>
              <a:rPr lang="de-DE" sz="1600" dirty="0">
                <a:solidFill>
                  <a:srgbClr val="5D6875"/>
                </a:solidFill>
                <a:cs typeface="Arial" panose="020B0604020202020204" pitchFamily="34" charset="0"/>
              </a:rPr>
              <a:t>-PT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4392B5B-4B48-6BE3-4331-6D271631DA45}"/>
              </a:ext>
            </a:extLst>
          </p:cNvPr>
          <p:cNvSpPr txBox="1"/>
          <p:nvPr/>
        </p:nvSpPr>
        <p:spPr>
          <a:xfrm>
            <a:off x="9572794" y="528918"/>
            <a:ext cx="21836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b="1" dirty="0">
                <a:solidFill>
                  <a:srgbClr val="FFFF00"/>
                </a:solidFill>
              </a:rPr>
              <a:t>TFGP-07-02</a:t>
            </a:r>
            <a:endParaRPr lang="en-GB" sz="28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681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17" y="191173"/>
            <a:ext cx="12196233" cy="738664"/>
          </a:xfrm>
          <a:prstGeom prst="rect">
            <a:avLst/>
          </a:prstGeom>
        </p:spPr>
        <p:txBody>
          <a:bodyPr/>
          <a:lstStyle/>
          <a:p>
            <a:pPr>
              <a:tabLst>
                <a:tab pos="5021263" algn="l"/>
              </a:tabLst>
            </a:pP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Glaring Issues (</a:t>
            </a:r>
            <a:r>
              <a:rPr lang="en-GB" noProof="0" dirty="0" err="1">
                <a:solidFill>
                  <a:schemeClr val="bg1">
                    <a:lumMod val="50000"/>
                  </a:schemeClr>
                </a:solidFill>
              </a:rPr>
              <a:t>HWT-PTI</a:t>
            </a: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br>
              <a:rPr lang="en-GB" noProof="0" dirty="0"/>
            </a:br>
            <a:r>
              <a:rPr lang="en-GB" noProof="0" dirty="0"/>
              <a:t>1) </a:t>
            </a:r>
            <a:r>
              <a:rPr lang="en-GB" dirty="0"/>
              <a:t>Aiming</a:t>
            </a:r>
            <a:endParaRPr lang="en-GB" i="1" noProof="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9052D8C-3E87-AD95-53D8-A182C4F75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876950"/>
              </p:ext>
            </p:extLst>
          </p:nvPr>
        </p:nvGraphicFramePr>
        <p:xfrm>
          <a:off x="287338" y="1196975"/>
          <a:ext cx="11623675" cy="52402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35375">
                  <a:extLst>
                    <a:ext uri="{9D8B030D-6E8A-4147-A177-3AD203B41FA5}">
                      <a16:colId xmlns:a16="http://schemas.microsoft.com/office/drawing/2014/main" val="2192079523"/>
                    </a:ext>
                  </a:extLst>
                </a:gridCol>
                <a:gridCol w="9088300">
                  <a:extLst>
                    <a:ext uri="{9D8B030D-6E8A-4147-A177-3AD203B41FA5}">
                      <a16:colId xmlns:a16="http://schemas.microsoft.com/office/drawing/2014/main" val="4773100"/>
                    </a:ext>
                  </a:extLst>
                </a:gridCol>
              </a:tblGrid>
              <a:tr h="273417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hort 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 Issue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6227785"/>
                  </a:ext>
                </a:extLst>
              </a:tr>
              <a:tr h="1071553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“initial aiming” procedure in TA leads to indistinct H-V point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 aiming of a road illumination device can be found visually, with several possibilities where the kink point may be.</a:t>
                      </a:r>
                      <a:br>
                        <a:rPr lang="en-GB" sz="1600" u="none" strike="noStrike" dirty="0">
                          <a:effectLst/>
                        </a:rPr>
                      </a:br>
                      <a:r>
                        <a:rPr lang="en-GB" sz="1600" u="none" strike="noStrike" dirty="0">
                          <a:effectLst/>
                        </a:rPr>
                        <a:t>This leads to the situation that in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 it is difficult to inspect headlamp aim using suitably low thresholds.</a:t>
                      </a:r>
                      <a:br>
                        <a:rPr lang="en-GB" sz="1600" u="none" strike="noStrike" dirty="0">
                          <a:effectLst/>
                        </a:rPr>
                      </a:br>
                      <a:r>
                        <a:rPr lang="en-GB" sz="1600" u="none" strike="noStrike" dirty="0">
                          <a:effectLst/>
                        </a:rPr>
                        <a:t>We also need a common understanding which is the right aiming (and which is wrong)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262570"/>
                  </a:ext>
                </a:extLst>
              </a:tr>
              <a:tr h="735105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definition of cut-off line and kink point is insufficient and indistinct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 shape of the cut-off line and the kink point (elbow point) is insufficiently defined/described.</a:t>
                      </a:r>
                      <a:br>
                        <a:rPr lang="en-GB" sz="1600" u="none" strike="noStrike" dirty="0">
                          <a:effectLst/>
                        </a:rPr>
                      </a:br>
                      <a:r>
                        <a:rPr lang="en-GB" sz="1600" u="none" strike="noStrike" dirty="0">
                          <a:effectLst/>
                        </a:rPr>
                        <a:t>The interconnection between </a:t>
                      </a:r>
                      <a:r>
                        <a:rPr lang="en-GB" sz="1600" u="none" strike="noStrike" dirty="0" err="1">
                          <a:effectLst/>
                        </a:rPr>
                        <a:t>R149</a:t>
                      </a:r>
                      <a:r>
                        <a:rPr lang="en-GB" sz="1600" u="none" strike="noStrike" dirty="0">
                          <a:effectLst/>
                        </a:rPr>
                        <a:t> (component) and </a:t>
                      </a:r>
                      <a:r>
                        <a:rPr lang="en-GB" sz="1600" u="none" strike="noStrike" dirty="0" err="1">
                          <a:effectLst/>
                        </a:rPr>
                        <a:t>R48</a:t>
                      </a:r>
                      <a:r>
                        <a:rPr lang="en-GB" sz="1600" u="none" strike="noStrike" dirty="0">
                          <a:effectLst/>
                        </a:rPr>
                        <a:t> (installation in the vehicle) should be revised because in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 we inspect complete vehicles.</a:t>
                      </a:r>
                    </a:p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dirty="0">
                          <a:effectLst/>
                        </a:rPr>
                        <a:t>The definitions are not sufficiently clear; the kink point is allowed in an huge area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403694"/>
                  </a:ext>
                </a:extLst>
              </a:tr>
              <a:tr h="273417">
                <a:tc>
                  <a:txBody>
                    <a:bodyPr/>
                    <a:lstStyle/>
                    <a:p>
                      <a:pPr marL="0" marR="0" lvl="0" indent="0" algn="ctr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is not clear that these definitions must apply to complete vehicles.</a:t>
                      </a:r>
                    </a:p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endParaRPr lang="en-GB" sz="16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504478"/>
                  </a:ext>
                </a:extLst>
              </a:tr>
              <a:tr h="847784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left rising part of cut-off leads to glare. 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Left rising part of the cut-off line necessarily leads to (at least some) glaring of the opposite traffic on straight lines, and especially on right bends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831201"/>
                  </a:ext>
                </a:extLst>
              </a:tr>
              <a:tr h="339114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 wet roads, the reflex zone in front of a vehicle leads to glare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With today´s light distribution, the reflex zone leads to glare on wet roads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0685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2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17" y="191173"/>
            <a:ext cx="12196233" cy="738664"/>
          </a:xfrm>
          <a:prstGeom prst="rect">
            <a:avLst/>
          </a:prstGeom>
        </p:spPr>
        <p:txBody>
          <a:bodyPr/>
          <a:lstStyle/>
          <a:p>
            <a:pPr>
              <a:tabLst>
                <a:tab pos="5021263" algn="l"/>
              </a:tabLst>
            </a:pP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Glaring Issues (</a:t>
            </a:r>
            <a:r>
              <a:rPr lang="en-GB" noProof="0" dirty="0" err="1">
                <a:solidFill>
                  <a:schemeClr val="bg1">
                    <a:lumMod val="50000"/>
                  </a:schemeClr>
                </a:solidFill>
              </a:rPr>
              <a:t>HWT-PTI</a:t>
            </a: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br>
              <a:rPr lang="en-GB" noProof="0" dirty="0"/>
            </a:br>
            <a:r>
              <a:rPr lang="en-GB" dirty="0"/>
              <a:t>2</a:t>
            </a:r>
            <a:r>
              <a:rPr lang="en-GB" noProof="0" dirty="0"/>
              <a:t>) C</a:t>
            </a:r>
            <a:r>
              <a:rPr lang="en-GB" dirty="0" err="1"/>
              <a:t>hanges</a:t>
            </a:r>
            <a:r>
              <a:rPr lang="en-GB" dirty="0"/>
              <a:t> to requirements on construction</a:t>
            </a:r>
            <a:endParaRPr lang="en-GB" i="1" noProof="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9052D8C-3E87-AD95-53D8-A182C4F75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011462"/>
              </p:ext>
            </p:extLst>
          </p:nvPr>
        </p:nvGraphicFramePr>
        <p:xfrm>
          <a:off x="287338" y="1196975"/>
          <a:ext cx="11623675" cy="37683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35375">
                  <a:extLst>
                    <a:ext uri="{9D8B030D-6E8A-4147-A177-3AD203B41FA5}">
                      <a16:colId xmlns:a16="http://schemas.microsoft.com/office/drawing/2014/main" val="2192079523"/>
                    </a:ext>
                  </a:extLst>
                </a:gridCol>
                <a:gridCol w="9088300">
                  <a:extLst>
                    <a:ext uri="{9D8B030D-6E8A-4147-A177-3AD203B41FA5}">
                      <a16:colId xmlns:a16="http://schemas.microsoft.com/office/drawing/2014/main" val="4773100"/>
                    </a:ext>
                  </a:extLst>
                </a:gridCol>
              </a:tblGrid>
              <a:tr h="273417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hort 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 Issue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6227785"/>
                  </a:ext>
                </a:extLst>
              </a:tr>
              <a:tr h="1071553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ly mounted headlamps have a higher tendency to glare lower vehicles in front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Highly mounted headlamps have a higher tendency to glare lower vehicles in front. There is a trend for </a:t>
                      </a:r>
                      <a:r>
                        <a:rPr lang="en-GB" sz="1600" u="none" strike="noStrike" dirty="0" err="1">
                          <a:effectLst/>
                        </a:rPr>
                        <a:t>M1</a:t>
                      </a:r>
                      <a:r>
                        <a:rPr lang="en-GB" sz="1600" u="none" strike="noStrike" dirty="0">
                          <a:effectLst/>
                        </a:rPr>
                        <a:t> to have higher mounted headlamps. (on average ~1,5 cm higher mounted per year).Higher mounted headlamps have advantages in range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262570"/>
                  </a:ext>
                </a:extLst>
              </a:tr>
              <a:tr h="799219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ing hardware are not as efficient as they could be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 requirements for cleaning hardware for headlamps are insufficient to remove soiling (e.g. too small water reservoirs)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403694"/>
                  </a:ext>
                </a:extLst>
              </a:tr>
              <a:tr h="399845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ing hardware is not mandatory for all vehicles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lang="en-GB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1</a:t>
                      </a: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GB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1</a:t>
                      </a: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bright headlamps are required to have cleaning hardware.</a:t>
                      </a:r>
                    </a:p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ies clearly show that soiled non-bright headlamps lead to strong glare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504478"/>
                  </a:ext>
                </a:extLst>
              </a:tr>
              <a:tr h="847784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-levelling is not as efficient as it could be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 newly mandatory auto-levelling is a step forward, but its performance requirements could be improved to avoid glare better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831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734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17" y="191173"/>
            <a:ext cx="12196233" cy="738664"/>
          </a:xfrm>
          <a:prstGeom prst="rect">
            <a:avLst/>
          </a:prstGeom>
        </p:spPr>
        <p:txBody>
          <a:bodyPr/>
          <a:lstStyle/>
          <a:p>
            <a:pPr>
              <a:tabLst>
                <a:tab pos="5021263" algn="l"/>
              </a:tabLst>
            </a:pP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Glaring Issues (</a:t>
            </a:r>
            <a:r>
              <a:rPr lang="en-GB" noProof="0" dirty="0" err="1">
                <a:solidFill>
                  <a:schemeClr val="bg1">
                    <a:lumMod val="50000"/>
                  </a:schemeClr>
                </a:solidFill>
              </a:rPr>
              <a:t>HWT-PTI</a:t>
            </a: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br>
              <a:rPr lang="en-GB" noProof="0" dirty="0"/>
            </a:br>
            <a:r>
              <a:rPr lang="en-GB" dirty="0"/>
              <a:t>3) provisions for </a:t>
            </a:r>
            <a:r>
              <a:rPr lang="en-GB" dirty="0" err="1"/>
              <a:t>PTI</a:t>
            </a:r>
            <a:endParaRPr lang="en-GB" i="1" noProof="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9052D8C-3E87-AD95-53D8-A182C4F75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521097"/>
              </p:ext>
            </p:extLst>
          </p:nvPr>
        </p:nvGraphicFramePr>
        <p:xfrm>
          <a:off x="287338" y="1196975"/>
          <a:ext cx="11623675" cy="1148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35375">
                  <a:extLst>
                    <a:ext uri="{9D8B030D-6E8A-4147-A177-3AD203B41FA5}">
                      <a16:colId xmlns:a16="http://schemas.microsoft.com/office/drawing/2014/main" val="2192079523"/>
                    </a:ext>
                  </a:extLst>
                </a:gridCol>
                <a:gridCol w="9088300">
                  <a:extLst>
                    <a:ext uri="{9D8B030D-6E8A-4147-A177-3AD203B41FA5}">
                      <a16:colId xmlns:a16="http://schemas.microsoft.com/office/drawing/2014/main" val="4773100"/>
                    </a:ext>
                  </a:extLst>
                </a:gridCol>
              </a:tblGrid>
              <a:tr h="273417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hort 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 Issue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6227785"/>
                  </a:ext>
                </a:extLst>
              </a:tr>
              <a:tr h="837103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TI</a:t>
                      </a: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cks information for an efficient and effective </a:t>
                      </a:r>
                      <a:r>
                        <a:rPr lang="en-GB" sz="1600" b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TI</a:t>
                      </a: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re should be a new chapter "provisions for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", instead of a paragraph (</a:t>
                      </a:r>
                      <a:r>
                        <a:rPr lang="en-GB" sz="1600" u="none" strike="noStrike" dirty="0" err="1">
                          <a:effectLst/>
                        </a:rPr>
                        <a:t>R48</a:t>
                      </a:r>
                      <a:r>
                        <a:rPr lang="en-GB" sz="1600" u="none" strike="noStrike" dirty="0">
                          <a:effectLst/>
                        </a:rPr>
                        <a:t> 6.22.9.2.3, amended in </a:t>
                      </a:r>
                      <a:r>
                        <a:rPr lang="en-GB" sz="1600" u="none" strike="noStrike" dirty="0" err="1">
                          <a:effectLst/>
                        </a:rPr>
                        <a:t>Se7</a:t>
                      </a:r>
                      <a:r>
                        <a:rPr lang="en-GB" sz="1600" u="none" strike="noStrike" dirty="0">
                          <a:effectLst/>
                        </a:rPr>
                        <a:t> </a:t>
                      </a:r>
                      <a:r>
                        <a:rPr lang="en-GB" sz="1600" u="none" strike="noStrike" dirty="0" err="1">
                          <a:effectLst/>
                        </a:rPr>
                        <a:t>Am6</a:t>
                      </a:r>
                      <a:r>
                        <a:rPr lang="en-GB" sz="1600" u="none" strike="noStrike" dirty="0">
                          <a:effectLst/>
                        </a:rPr>
                        <a:t> to 6.22.9.3.3)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2625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3389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17" y="191173"/>
            <a:ext cx="12196233" cy="738664"/>
          </a:xfrm>
          <a:prstGeom prst="rect">
            <a:avLst/>
          </a:prstGeom>
        </p:spPr>
        <p:txBody>
          <a:bodyPr/>
          <a:lstStyle/>
          <a:p>
            <a:pPr>
              <a:tabLst>
                <a:tab pos="5021263" algn="l"/>
              </a:tabLst>
            </a:pP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Glaring Issues (</a:t>
            </a:r>
            <a:r>
              <a:rPr lang="en-GB" noProof="0" dirty="0" err="1">
                <a:solidFill>
                  <a:schemeClr val="bg1">
                    <a:lumMod val="50000"/>
                  </a:schemeClr>
                </a:solidFill>
              </a:rPr>
              <a:t>HWT-PTI</a:t>
            </a:r>
            <a:r>
              <a:rPr lang="en-GB" noProof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br>
              <a:rPr lang="en-GB" noProof="0" dirty="0"/>
            </a:br>
            <a:r>
              <a:rPr lang="en-GB" noProof="0" dirty="0"/>
              <a:t>4) Measurements</a:t>
            </a:r>
            <a:endParaRPr lang="en-GB" i="1" noProof="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9052D8C-3E87-AD95-53D8-A182C4F75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993063"/>
              </p:ext>
            </p:extLst>
          </p:nvPr>
        </p:nvGraphicFramePr>
        <p:xfrm>
          <a:off x="287338" y="1196975"/>
          <a:ext cx="11623675" cy="50826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35375">
                  <a:extLst>
                    <a:ext uri="{9D8B030D-6E8A-4147-A177-3AD203B41FA5}">
                      <a16:colId xmlns:a16="http://schemas.microsoft.com/office/drawing/2014/main" val="2192079523"/>
                    </a:ext>
                  </a:extLst>
                </a:gridCol>
                <a:gridCol w="9088300">
                  <a:extLst>
                    <a:ext uri="{9D8B030D-6E8A-4147-A177-3AD203B41FA5}">
                      <a16:colId xmlns:a16="http://schemas.microsoft.com/office/drawing/2014/main" val="4773100"/>
                    </a:ext>
                  </a:extLst>
                </a:gridCol>
              </a:tblGrid>
              <a:tr h="273417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hort 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 Issue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6227785"/>
                  </a:ext>
                </a:extLst>
              </a:tr>
              <a:tr h="1071553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requirement “measure with 75 kg on driver´s seat“ is unrealistic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It is not practical for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 and garages to measure headlamp aiming with "75 kg on driver´s seat".</a:t>
                      </a:r>
                    </a:p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 filling of the tank, and other conditions may have a significant influence on the measured downward inclination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262570"/>
                  </a:ext>
                </a:extLst>
              </a:tr>
              <a:tr h="735105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is not mandated to measure alignment EOL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Currently, the OEM must ensure that the headlamp aiming requirements are fulfilled also when installed in the vehicle. The measure how to fulfil the requirement is not sufficiently defined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403694"/>
                  </a:ext>
                </a:extLst>
              </a:tr>
              <a:tr h="273417">
                <a:tc>
                  <a:txBody>
                    <a:bodyPr/>
                    <a:lstStyle/>
                    <a:p>
                      <a:pPr marL="0" marR="0" lvl="0" indent="0" algn="ctr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alignment degrades between EOL and handover to costumer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transport the vehicle is put into transport mode (e.g. via diagnosis, via suspension travel limiter, ...).</a:t>
                      </a:r>
                    </a:p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ies show that the headlamp is very often misaligned at the point of vehicle handover, mostly due to the transport and setting of suspension parts.</a:t>
                      </a:r>
                    </a:p>
                    <a:p>
                      <a:pPr marL="0" marR="0" lvl="0" indent="0" algn="l" defTabSz="121944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is also the case for other sensors/actuators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504478"/>
                  </a:ext>
                </a:extLst>
              </a:tr>
              <a:tr h="847784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passing beams class C is not always easy to switch on for </a:t>
                      </a:r>
                      <a:r>
                        <a:rPr lang="en-GB" sz="1600" b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TI</a:t>
                      </a: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re are solutions in the market, where the neutral state (passing beam class C) cannot be switched on in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 in a defined way. This requirement is not sufficiently clear.</a:t>
                      </a:r>
                    </a:p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In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, the headlamp alignment is inspected in this state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831201"/>
                  </a:ext>
                </a:extLst>
              </a:tr>
              <a:tr h="339114">
                <a:tc>
                  <a:txBody>
                    <a:bodyPr/>
                    <a:lstStyle/>
                    <a:p>
                      <a:pPr algn="ctr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re are no generally accepted requirements for head lamp testers.</a:t>
                      </a: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Aft>
                          <a:spcPts val="600"/>
                        </a:spcAft>
                        <a:buNone/>
                      </a:pPr>
                      <a:r>
                        <a:rPr lang="en-GB" sz="1600" u="none" strike="noStrike" dirty="0">
                          <a:effectLst/>
                        </a:rPr>
                        <a:t>There are no general (mandatory) requirements on tools for inspection of headlamp aiming in </a:t>
                      </a:r>
                      <a:r>
                        <a:rPr lang="en-GB" sz="1600" u="none" strike="noStrike" dirty="0" err="1">
                          <a:effectLst/>
                        </a:rPr>
                        <a:t>PTI</a:t>
                      </a:r>
                      <a:r>
                        <a:rPr lang="en-GB" sz="1600" u="none" strike="noStrike" dirty="0">
                          <a:effectLst/>
                        </a:rPr>
                        <a:t> (and in garages). Manufacturers usually use German and French requirements instead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757" marR="6757" marT="6757" marB="0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0685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044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267847c30225c175b5420d8a3d74587866c5e69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False"/>
  <p:tag name="MIO_SHOW_FOOTER" val="False"/>
  <p:tag name="MIO_SHOW_PAGENUMBER" val="True"/>
  <p:tag name="MIO_AVOID_BLANK_LAYOUT" val="False"/>
  <p:tag name="MIO_CD_LAYOUT_VALID_AREA" val="True"/>
  <p:tag name="MIO_NUMBER_OF_VALID_LAYOUTS" val="12"/>
  <p:tag name="MIO_HDS" val="True"/>
  <p:tag name="MIO_SKIPVERSION" val="01.01.0001 00:00:00"/>
  <p:tag name="MIO_EKGUID" val="0039d904-627e-48ac-9ce4-2f72f4264eb6"/>
  <p:tag name="MIO_UPDATE" val="True"/>
  <p:tag name="MIO_VERSION" val="06.08.2018 12:46:43"/>
  <p:tag name="MIO_DBID" val="97AED319-CFF1-4CF7-ADAB-1C009F8E5890"/>
  <p:tag name="MIO_LASTDOWNLOADED" val="06.11.2018 15:34:16"/>
  <p:tag name="MIO_OBJECTNAME" val="16:9 Videoformat"/>
  <p:tag name="MIO_CDID" val="e4827dac-8609-4ec5-970b-c265437de89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False"/>
  <p:tag name="MIO_SHOW_FOOTER" val="False"/>
  <p:tag name="MIO_SHOW_PAGENUMBER" val="True"/>
  <p:tag name="MIO_AVOID_BLANK_LAYOUT" val="False"/>
  <p:tag name="MIO_CD_LAYOUT_VALID_AREA" val="True"/>
  <p:tag name="MIO_NUMBER_OF_VALID_LAYOUTS" val="12"/>
  <p:tag name="MIO_HDS" val="True"/>
  <p:tag name="MIO_SKIPVERSION" val="01.01.0001 00:00:00"/>
  <p:tag name="MIO_EKGUID" val="0039d904-627e-48ac-9ce4-2f72f4264eb6"/>
  <p:tag name="MIO_UPDATE" val="True"/>
  <p:tag name="MIO_VERSION" val="06.08.2018 12:46:43"/>
  <p:tag name="MIO_DBID" val="97AED319-CFF1-4CF7-ADAB-1C009F8E5890"/>
  <p:tag name="MIO_LASTDOWNLOADED" val="06.11.2018 15:34:16"/>
  <p:tag name="MIO_OBJECTNAME" val="16:9 Videoformat"/>
  <p:tag name="MIO_CDID" val="e4827dac-8609-4ec5-970b-c265437de89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False"/>
  <p:tag name="MIO_SHOW_FOOTER" val="False"/>
  <p:tag name="MIO_SHOW_PAGENUMBER" val="True"/>
  <p:tag name="MIO_AVOID_BLANK_LAYOUT" val="False"/>
  <p:tag name="MIO_CD_LAYOUT_VALID_AREA" val="True"/>
  <p:tag name="MIO_NUMBER_OF_VALID_LAYOUTS" val="12"/>
  <p:tag name="MIO_HDS" val="True"/>
  <p:tag name="MIO_SKIPVERSION" val="01.01.0001 00:00:00"/>
  <p:tag name="MIO_EKGUID" val="0039d904-627e-48ac-9ce4-2f72f4264eb6"/>
  <p:tag name="MIO_UPDATE" val="True"/>
  <p:tag name="MIO_VERSION" val="06.08.2018 12:46:43"/>
  <p:tag name="MIO_DBID" val="97AED319-CFF1-4CF7-ADAB-1C009F8E5890"/>
  <p:tag name="MIO_LASTDOWNLOADED" val="06.11.2018 15:34:16"/>
  <p:tag name="MIO_OBJECTNAME" val="16:9 Videoformat"/>
  <p:tag name="MIO_CDID" val="e4827dac-8609-4ec5-970b-c265437de89b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Rahmenfolien">
  <a:themeElements>
    <a:clrScheme name="Benutzerdefiniert 4">
      <a:dk1>
        <a:srgbClr val="000000"/>
      </a:dk1>
      <a:lt1>
        <a:srgbClr val="FFFFFF"/>
      </a:lt1>
      <a:dk2>
        <a:srgbClr val="3F3F3F"/>
      </a:dk2>
      <a:lt2>
        <a:srgbClr val="AEB8C0"/>
      </a:lt2>
      <a:accent1>
        <a:srgbClr val="0068B3"/>
      </a:accent1>
      <a:accent2>
        <a:srgbClr val="B61F29"/>
      </a:accent2>
      <a:accent3>
        <a:srgbClr val="00A85D"/>
      </a:accent3>
      <a:accent4>
        <a:srgbClr val="2F6B6A"/>
      </a:accent4>
      <a:accent5>
        <a:srgbClr val="FF9900"/>
      </a:accent5>
      <a:accent6>
        <a:srgbClr val="6D84A2"/>
      </a:accent6>
      <a:hlink>
        <a:srgbClr val="0068B3"/>
      </a:hlink>
      <a:folHlink>
        <a:srgbClr val="969696"/>
      </a:folHlink>
    </a:clrScheme>
    <a:fontScheme name="Vorlage_FS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Vorlage_FS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3_FSD-Powerpointvorlage_v22_rot.potx" id="{87A2D105-6B02-4DB4-BE30-9889AB6AF0BC}" vid="{C8AA3383-E0BB-4129-BB1B-3AB766C922F5}"/>
    </a:ext>
  </a:extLst>
</a:theme>
</file>

<file path=ppt/theme/theme2.xml><?xml version="1.0" encoding="utf-8"?>
<a:theme xmlns:a="http://schemas.openxmlformats.org/drawingml/2006/main" name="Videofolien">
  <a:themeElements>
    <a:clrScheme name="FSD-Farben_neu">
      <a:dk1>
        <a:srgbClr val="000000"/>
      </a:dk1>
      <a:lt1>
        <a:srgbClr val="FFFFFF"/>
      </a:lt1>
      <a:dk2>
        <a:srgbClr val="3F3F3F"/>
      </a:dk2>
      <a:lt2>
        <a:srgbClr val="AEB8C0"/>
      </a:lt2>
      <a:accent1>
        <a:srgbClr val="0068B3"/>
      </a:accent1>
      <a:accent2>
        <a:srgbClr val="B61F29"/>
      </a:accent2>
      <a:accent3>
        <a:srgbClr val="00A85D"/>
      </a:accent3>
      <a:accent4>
        <a:srgbClr val="2F6B6A"/>
      </a:accent4>
      <a:accent5>
        <a:srgbClr val="FF9900"/>
      </a:accent5>
      <a:accent6>
        <a:srgbClr val="6D84A2"/>
      </a:accent6>
      <a:hlink>
        <a:srgbClr val="0068B3"/>
      </a:hlink>
      <a:folHlink>
        <a:srgbClr val="969696"/>
      </a:folHlink>
    </a:clrScheme>
    <a:fontScheme name="Vorlage_FS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Vorlage_FS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3_FSD-Powerpointvorlage_v22_rot.potx" id="{87A2D105-6B02-4DB4-BE30-9889AB6AF0BC}" vid="{BF3C98E0-50E9-4401-AA7F-64C46082DBE6}"/>
    </a:ext>
  </a:extLst>
</a:theme>
</file>

<file path=ppt/theme/theme3.xml><?xml version="1.0" encoding="utf-8"?>
<a:theme xmlns:a="http://schemas.openxmlformats.org/drawingml/2006/main" name="Objektfolien">
  <a:themeElements>
    <a:clrScheme name="FSD-Farben_neu">
      <a:dk1>
        <a:srgbClr val="000000"/>
      </a:dk1>
      <a:lt1>
        <a:srgbClr val="FFFFFF"/>
      </a:lt1>
      <a:dk2>
        <a:srgbClr val="3F3F3F"/>
      </a:dk2>
      <a:lt2>
        <a:srgbClr val="AEB8C0"/>
      </a:lt2>
      <a:accent1>
        <a:srgbClr val="0068B3"/>
      </a:accent1>
      <a:accent2>
        <a:srgbClr val="B61F29"/>
      </a:accent2>
      <a:accent3>
        <a:srgbClr val="00A85D"/>
      </a:accent3>
      <a:accent4>
        <a:srgbClr val="2F6B6A"/>
      </a:accent4>
      <a:accent5>
        <a:srgbClr val="FF9900"/>
      </a:accent5>
      <a:accent6>
        <a:srgbClr val="6D84A2"/>
      </a:accent6>
      <a:hlink>
        <a:srgbClr val="0068B3"/>
      </a:hlink>
      <a:folHlink>
        <a:srgbClr val="969696"/>
      </a:folHlink>
    </a:clrScheme>
    <a:fontScheme name="Vorlage_FS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Vorlage_FS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_FS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_FS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3_FSD-Powerpointvorlage_v22_rot.potx" id="{87A2D105-6B02-4DB4-BE30-9889AB6AF0BC}" vid="{E8658D57-9F5E-4CDA-9DE4-E8D6D32C6E76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Farben PPT-Tea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68B3"/>
      </a:accent1>
      <a:accent2>
        <a:srgbClr val="3F3F3F"/>
      </a:accent2>
      <a:accent3>
        <a:srgbClr val="969696"/>
      </a:accent3>
      <a:accent4>
        <a:srgbClr val="B61F29"/>
      </a:accent4>
      <a:accent5>
        <a:srgbClr val="00A85D"/>
      </a:accent5>
      <a:accent6>
        <a:srgbClr val="2F6B6A"/>
      </a:accent6>
      <a:hlink>
        <a:srgbClr val="0068B3"/>
      </a:hlink>
      <a:folHlink>
        <a:srgbClr val="969696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3_FSD-Powerpointvorlage_v22_rot</Template>
  <TotalTime>0</TotalTime>
  <Words>778</Words>
  <Application>Microsoft Office PowerPoint</Application>
  <PresentationFormat>Personalizzato</PresentationFormat>
  <Paragraphs>52</Paragraphs>
  <Slides>5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3</vt:i4>
      </vt:variant>
      <vt:variant>
        <vt:lpstr>Titoli diapositive</vt:lpstr>
      </vt:variant>
      <vt:variant>
        <vt:i4>5</vt:i4>
      </vt:variant>
    </vt:vector>
  </HeadingPairs>
  <TitlesOfParts>
    <vt:vector size="13" baseType="lpstr">
      <vt:lpstr>Arial</vt:lpstr>
      <vt:lpstr>Arial Narrow</vt:lpstr>
      <vt:lpstr>Calibri</vt:lpstr>
      <vt:lpstr>Symbol</vt:lpstr>
      <vt:lpstr>Wingdings</vt:lpstr>
      <vt:lpstr>Rahmenfolien</vt:lpstr>
      <vt:lpstr>Videofolien</vt:lpstr>
      <vt:lpstr>Objektfolien</vt:lpstr>
      <vt:lpstr>Presentazione standard di PowerPoint</vt:lpstr>
      <vt:lpstr>Glaring Issues (HWT-PTI) 1) Aiming</vt:lpstr>
      <vt:lpstr>Glaring Issues (HWT-PTI) 2) Changes to requirements on construction</vt:lpstr>
      <vt:lpstr>Glaring Issues (HWT-PTI) 3) provisions for PTI</vt:lpstr>
      <vt:lpstr>Glaring Issues (HWT-PTI) 4) Measurements</vt:lpstr>
    </vt:vector>
  </TitlesOfParts>
  <Company>FSD Fahrzeugsystemdaten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be, Stephan</dc:creator>
  <cp:lastModifiedBy>Davide Puglisi</cp:lastModifiedBy>
  <cp:revision>79</cp:revision>
  <cp:lastPrinted>2022-06-14T08:07:17Z</cp:lastPrinted>
  <dcterms:created xsi:type="dcterms:W3CDTF">2024-06-24T12:28:26Z</dcterms:created>
  <dcterms:modified xsi:type="dcterms:W3CDTF">2026-04-13T11:17:03Z</dcterms:modified>
</cp:coreProperties>
</file>